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2" r:id="rId5"/>
  </p:sldIdLst>
  <p:sldSz cx="121618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088" autoAdjust="0"/>
    <p:restoredTop sz="94426" autoAdjust="0"/>
  </p:normalViewPr>
  <p:slideViewPr>
    <p:cSldViewPr snapToGrid="0" snapToObjects="1">
      <p:cViewPr>
        <p:scale>
          <a:sx n="127" d="100"/>
          <a:sy n="127" d="100"/>
        </p:scale>
        <p:origin x="1256" y="336"/>
      </p:cViewPr>
      <p:guideLst>
        <p:guide orient="horz" pos="2117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8750" y="601663"/>
            <a:ext cx="764063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601663"/>
            <a:ext cx="7640638" cy="4224337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6:21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0941" y="3047"/>
            <a:ext cx="933305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56020" y="36514"/>
            <a:ext cx="404197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32900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32899" y="6410649"/>
            <a:ext cx="40310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6:21 P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78332" y="3581761"/>
            <a:ext cx="845717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77580" y="155449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78333" y="6267797"/>
            <a:ext cx="481028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667898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6:21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41734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21 P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941734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21 P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61585" y="6305945"/>
            <a:ext cx="11601681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42342" y="6328651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92053990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104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55525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slideLayout" Target="../slideLayouts/slideLayout8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9.vml"/><Relationship Id="rId2" Type="http://schemas.openxmlformats.org/officeDocument/2006/relationships/tags" Target="../tags/tag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80870" y="230189"/>
            <a:ext cx="10156930" cy="1107996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Designed and delivered rapid workshop based approach to improve pricing / discounting capabilities to capture $50m+ incremental revenue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04262" y="1661549"/>
            <a:ext cx="3255202" cy="1735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Global dairy player, facing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revenue and margin pressure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from record commodity prices and increased competition 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Varied capability level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across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global foodservice business (B2B2C), with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largest opportunity in improving pricing and discounting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Pressure to start to deliver benefits within 10 weeks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849492" y="1647155"/>
            <a:ext cx="3974982" cy="2585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Designed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workshop based approach to improve pricing and discounting capabilities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and address barriers to capture value from improved pricing activities: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Built pricing and discounting knowledge 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Identified immediate term opportunity to improve pricing and discounting outcomes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Developed implementation / capture plans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Started to build front-line capabilities to have the tough conversations to drive price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Attendees drawn from across local team to build cross-functional capabilities and improve one-team commitment </a:t>
            </a:r>
          </a:p>
        </p:txBody>
      </p:sp>
      <p:sp>
        <p:nvSpPr>
          <p:cNvPr id="27" name="Rectangle 96"/>
          <p:cNvSpPr>
            <a:spLocks noChangeArrowheads="1"/>
          </p:cNvSpPr>
          <p:nvPr/>
        </p:nvSpPr>
        <p:spPr bwMode="gray">
          <a:xfrm>
            <a:off x="8340115" y="1624616"/>
            <a:ext cx="3185136" cy="1772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Identified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$50m+ in revenue upside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across 6 pilot markets / categories 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Built knowledge and confidence 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in local teams, which is translating into continued efforts to push price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Created 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foundation and commitment for longer-run program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 to develop advance pricing, trade-spend and promo capabilities </a:t>
            </a:r>
          </a:p>
          <a:p>
            <a:pPr lvl="1">
              <a:spcBef>
                <a:spcPct val="20000"/>
              </a:spcBef>
            </a:pPr>
            <a:endParaRPr lang="en-US" altLang="ja-JP" sz="12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xmlns="" id="{7C00A879-A179-604A-BFBD-8C6416284E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580" y="-14747"/>
            <a:ext cx="2798958" cy="160412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xmlns="" id="{FBFEF5D3-7302-7949-B20D-D6373992F40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72275" y="-14748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18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93111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1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77070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77070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77070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4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492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5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492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0268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3496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2912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29121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Michelle Chua\Documents\01 MICHELLE CHUA\EVENTS - PAST\EVENTS 2017\00_M&amp;S ITP\06_MCK GOT KNOWLEDGE\M&amp;S ITP - Pre-work - Alistair Carmichael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08</Words>
  <Application>Microsoft Macintosh PowerPoint</Application>
  <PresentationFormat>Custom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Georgia</vt:lpstr>
      <vt:lpstr>MS PGothic</vt:lpstr>
      <vt:lpstr>ＭＳ Ｐゴシック</vt:lpstr>
      <vt:lpstr>Times New Roman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Designed and delivered rapid workshop based approach to improve pricing / discounting capabilities to capture $50m+ incremental revenue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5-01T21:13:03Z</dcterms:modified>
  <cp:category/>
  <cp:contentStatus/>
  <dc:language/>
  <cp:version/>
</cp:coreProperties>
</file>